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</p:sldMasterIdLst>
  <p:notesMasterIdLst>
    <p:notesMasterId r:id="rId7"/>
  </p:notesMasterIdLst>
  <p:sldIdLst>
    <p:sldId id="256" r:id="rId3"/>
    <p:sldId id="259" r:id="rId4"/>
    <p:sldId id="260" r:id="rId5"/>
    <p:sldId id="261" r:id="rId6"/>
  </p:sldIdLst>
  <p:sldSz cx="9144000" cy="5143500" type="screen16x9"/>
  <p:notesSz cx="9144000" cy="6858000"/>
  <p:defaultTextStyle>
    <a:defPPr>
      <a:defRPr lang="es-ES"/>
    </a:defPPr>
    <a:lvl1pPr marL="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1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4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056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079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088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098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137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94622" autoAdjust="0"/>
  </p:normalViewPr>
  <p:slideViewPr>
    <p:cSldViewPr>
      <p:cViewPr varScale="1">
        <p:scale>
          <a:sx n="147" d="100"/>
          <a:sy n="147" d="100"/>
        </p:scale>
        <p:origin x="-642" y="-10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EBDB7E-22A8-4EDB-9E23-57D60215A7DB}" type="datetimeFigureOut">
              <a:rPr lang="es-ES" smtClean="0"/>
              <a:t>16/05/2021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32C47F-E456-4451-9F97-A452074FCCE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1761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1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4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56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079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88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098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137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7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4836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04531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 userDrawn="1"/>
        </p:nvSpPr>
        <p:spPr>
          <a:xfrm>
            <a:off x="4572000" y="2915765"/>
            <a:ext cx="4387002" cy="19153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5002" y="581598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8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15" name="Espace réservé pour une image 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185908" y="983404"/>
            <a:ext cx="4331048" cy="1932362"/>
          </a:xfrm>
          <a:solidFill>
            <a:srgbClr val="EAEAEA"/>
          </a:solidFill>
        </p:spPr>
        <p:txBody>
          <a:bodyPr tIns="404970" anchor="ctr" anchorCtr="0"/>
          <a:lstStyle>
            <a:lvl1pPr>
              <a:defRPr/>
            </a:lvl1pPr>
          </a:lstStyle>
          <a:p>
            <a:r>
              <a:rPr lang="en-US" noProof="0" dirty="0" smtClean="0"/>
              <a:t>Select the icon to insert a picture</a:t>
            </a:r>
            <a:endParaRPr lang="en-US" noProof="0" dirty="0"/>
          </a:p>
        </p:txBody>
      </p:sp>
      <p:sp>
        <p:nvSpPr>
          <p:cNvPr id="16" name="12 Marcador de texto"/>
          <p:cNvSpPr>
            <a:spLocks noGrp="1"/>
          </p:cNvSpPr>
          <p:nvPr>
            <p:ph type="body" sz="quarter" idx="15" hasCustomPrompt="1"/>
          </p:nvPr>
        </p:nvSpPr>
        <p:spPr>
          <a:xfrm>
            <a:off x="6494154" y="624168"/>
            <a:ext cx="2290618" cy="260255"/>
          </a:xfrm>
        </p:spPr>
        <p:txBody>
          <a:bodyPr anchor="ctr" anchorCtr="0"/>
          <a:lstStyle>
            <a:lvl1pPr marL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1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s-ES_tradnl" smtClean="0"/>
              <a:t>CLIENT</a:t>
            </a:r>
            <a:endParaRPr lang="es-ES"/>
          </a:p>
        </p:txBody>
      </p:sp>
      <p:sp>
        <p:nvSpPr>
          <p:cNvPr id="17" name="1 Título"/>
          <p:cNvSpPr txBox="1">
            <a:spLocks/>
          </p:cNvSpPr>
          <p:nvPr userDrawn="1"/>
        </p:nvSpPr>
        <p:spPr bwMode="gray">
          <a:xfrm>
            <a:off x="6786399" y="192665"/>
            <a:ext cx="1674037" cy="2168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500" b="1" i="0" u="none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_tradnl" sz="1200" smtClean="0">
                <a:solidFill>
                  <a:srgbClr val="FFFFFF">
                    <a:lumMod val="75000"/>
                  </a:srgbClr>
                </a:solidFill>
              </a:rPr>
              <a:t>Project Reference</a:t>
            </a:r>
            <a:endParaRPr lang="es-ES" sz="120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46948" y="1047068"/>
            <a:ext cx="4037827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3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46945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smtClean="0"/>
              <a:t>INDUSTRY NAME</a:t>
            </a:r>
            <a:endParaRPr lang="en-US" noProof="0" dirty="0" smtClean="0"/>
          </a:p>
        </p:txBody>
      </p:sp>
      <p:sp>
        <p:nvSpPr>
          <p:cNvPr id="24" name="Rectangle 57">
            <a:extLst>
              <a:ext uri="{FF2B5EF4-FFF2-40B4-BE49-F238E27FC236}">
                <a16:creationId xmlns="" xmlns:a16="http://schemas.microsoft.com/office/drawing/2014/main" id="{E84F61DF-65CA-45BF-9A0B-34B97F6A97EA}"/>
              </a:ext>
            </a:extLst>
          </p:cNvPr>
          <p:cNvSpPr/>
          <p:nvPr userDrawn="1"/>
        </p:nvSpPr>
        <p:spPr>
          <a:xfrm>
            <a:off x="129955" y="519525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208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949" y="1340857"/>
            <a:ext cx="4034147" cy="14217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46945" y="3352424"/>
            <a:ext cx="4037112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208" y="3352424"/>
            <a:ext cx="4032448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40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4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1773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4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70512" y="861455"/>
            <a:ext cx="8775000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5073127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2" y="1653989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5512" y="1653989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8234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3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3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019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5019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8094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8094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6713414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689999" cy="3214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689999" cy="859631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155" y="0"/>
            <a:ext cx="7783283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0" y="1361513"/>
            <a:ext cx="8775000" cy="3350700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31155" y="861455"/>
            <a:ext cx="8205677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57"/>
            <a:ext cx="685800" cy="685800"/>
          </a:xfrm>
        </p:spPr>
        <p:txBody>
          <a:bodyPr anchor="ctr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3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25054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3903009" cy="2339789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47" y="3958819"/>
            <a:ext cx="2472485" cy="24899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47" y="2937263"/>
            <a:ext cx="2472485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5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561" y="3258073"/>
            <a:ext cx="2478108" cy="67113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6561" y="4201048"/>
            <a:ext cx="2473271" cy="535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035894" y="860276"/>
            <a:ext cx="1956917" cy="1849272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4202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791325" y="4867275"/>
            <a:ext cx="2352675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3" name="Freeform: Shape 9">
            <a:extLst>
              <a:ext uri="{FF2B5EF4-FFF2-40B4-BE49-F238E27FC236}">
                <a16:creationId xmlns="" xmlns:a16="http://schemas.microsoft.com/office/drawing/2014/main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4199166" y="209551"/>
            <a:ext cx="5154385" cy="4735284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defTabSz="685800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803571" y="4987996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800"/>
            <a:fld id="{0502E5A9-B53C-401E-A0E0-4A359BB0A9E5}" type="slidenum">
              <a:rPr lang="en-US" sz="6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pPr algn="r" defTabSz="685800"/>
              <a:t>‹Nº›</a:t>
            </a:fld>
            <a:endParaRPr lang="en-US" sz="6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803246" y="4987996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50000"/>
                  </a:srgbClr>
                </a:solidFill>
              </a:rPr>
              <a:t>© Capgemini 2021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-1"/>
            <a:ext cx="4227317" cy="133894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8733482" y="250782"/>
            <a:ext cx="206922" cy="169639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8625827" y="128680"/>
            <a:ext cx="314577" cy="267507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70260" y="1923750"/>
            <a:ext cx="6940153" cy="2943525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4179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0" y="0"/>
            <a:ext cx="3561974" cy="51435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0" y="0"/>
            <a:ext cx="3311645" cy="238220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1"/>
            <a:ext cx="2725088" cy="17308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3513" y="2565213"/>
            <a:ext cx="3214946" cy="2244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=""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6028" y="388511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6029" y="702727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=""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6028" y="3485447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6029" y="3799663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=""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6028" y="1922536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36029" y="2236752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=""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5407" y="780363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5407" y="2247166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5407" y="3830881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3300740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7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70512" y="861455"/>
            <a:ext cx="8775000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4205752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60903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86043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 userDrawn="1"/>
        </p:nvSpPr>
        <p:spPr>
          <a:xfrm>
            <a:off x="4572000" y="2915765"/>
            <a:ext cx="4387002" cy="19153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4999" y="581595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5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15" name="Espace réservé pour une image 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185906" y="983403"/>
            <a:ext cx="4331048" cy="1932362"/>
          </a:xfrm>
          <a:solidFill>
            <a:srgbClr val="EAEAEA"/>
          </a:solidFill>
        </p:spPr>
        <p:txBody>
          <a:bodyPr tIns="405000" anchor="ctr" anchorCtr="0"/>
          <a:lstStyle>
            <a:lvl1pPr>
              <a:defRPr/>
            </a:lvl1pPr>
          </a:lstStyle>
          <a:p>
            <a:r>
              <a:rPr lang="en-US" noProof="0" dirty="0" smtClean="0"/>
              <a:t>Select the icon to insert a picture</a:t>
            </a:r>
            <a:endParaRPr lang="en-US" noProof="0" dirty="0"/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46945" y="1047068"/>
            <a:ext cx="4037827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3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46945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smtClean="0"/>
              <a:t>INDUSTRY NAME</a:t>
            </a:r>
            <a:endParaRPr lang="en-US" noProof="0" dirty="0" smtClean="0"/>
          </a:p>
        </p:txBody>
      </p:sp>
      <p:sp>
        <p:nvSpPr>
          <p:cNvPr id="24" name="Rectangle 57">
            <a:extLst>
              <a:ext uri="{FF2B5EF4-FFF2-40B4-BE49-F238E27FC236}">
                <a16:creationId xmlns="" xmlns:a16="http://schemas.microsoft.com/office/drawing/2014/main" id="{E84F61DF-65CA-45BF-9A0B-34B97F6A97EA}"/>
              </a:ext>
            </a:extLst>
          </p:cNvPr>
          <p:cNvSpPr/>
          <p:nvPr userDrawn="1"/>
        </p:nvSpPr>
        <p:spPr>
          <a:xfrm>
            <a:off x="129952" y="519522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207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946" y="1340854"/>
            <a:ext cx="4034147" cy="14217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46945" y="3352421"/>
            <a:ext cx="4037112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207" y="3352421"/>
            <a:ext cx="4032448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628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4999" y="581595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5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dirty="0" smtClean="0"/>
              <a:t>INDUSTRY NAME</a:t>
            </a:r>
          </a:p>
        </p:txBody>
      </p:sp>
      <p:sp>
        <p:nvSpPr>
          <p:cNvPr id="24" name="Rectangle 57">
            <a:extLst>
              <a:ext uri="{FF2B5EF4-FFF2-40B4-BE49-F238E27FC236}">
                <a16:creationId xmlns="" xmlns:a16="http://schemas.microsoft.com/office/drawing/2014/main" id="{E84F61DF-65CA-45BF-9A0B-34B97F6A97EA}"/>
              </a:ext>
            </a:extLst>
          </p:cNvPr>
          <p:cNvSpPr/>
          <p:nvPr userDrawn="1"/>
        </p:nvSpPr>
        <p:spPr>
          <a:xfrm>
            <a:off x="129952" y="519522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256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2" y="1653991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5512" y="1653991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8321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5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5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021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5021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8094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8094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320380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3" y="3"/>
            <a:ext cx="689999" cy="3214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3" y="3"/>
            <a:ext cx="689999" cy="859631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158" y="2"/>
            <a:ext cx="7783283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0" y="1361513"/>
            <a:ext cx="8775000" cy="3350700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31158" y="861455"/>
            <a:ext cx="8205677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57"/>
            <a:ext cx="685800" cy="685800"/>
          </a:xfrm>
        </p:spPr>
        <p:txBody>
          <a:bodyPr anchor="ctr">
            <a:normAutofit/>
          </a:bodyPr>
          <a:lstStyle>
            <a:lvl1pPr marL="0" indent="0" algn="ctr" defTabSz="685749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3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5443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2" y="3"/>
            <a:ext cx="3903009" cy="2339789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50" y="3958819"/>
            <a:ext cx="2472485" cy="24899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50" y="2937265"/>
            <a:ext cx="2472485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5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561" y="3258073"/>
            <a:ext cx="2478108" cy="67113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6564" y="4201048"/>
            <a:ext cx="2473271" cy="535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035897" y="860276"/>
            <a:ext cx="1956917" cy="1849272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98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791327" y="4867277"/>
            <a:ext cx="2352675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3" name="Freeform: Shape 9">
            <a:extLst>
              <a:ext uri="{FF2B5EF4-FFF2-40B4-BE49-F238E27FC236}">
                <a16:creationId xmlns="" xmlns:a16="http://schemas.microsoft.com/office/drawing/2014/main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4199169" y="209551"/>
            <a:ext cx="5154385" cy="4735284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  <a:noAutofit/>
          </a:bodyPr>
          <a:lstStyle/>
          <a:p>
            <a:pPr defTabSz="685749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803572" y="4987999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749"/>
            <a:fld id="{0502E5A9-B53C-401E-A0E0-4A359BB0A9E5}" type="slidenum">
              <a:rPr lang="en-US" sz="6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pPr algn="r" defTabSz="685749"/>
              <a:t>‹Nº›</a:t>
            </a:fld>
            <a:endParaRPr lang="en-US" sz="6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803249" y="4987999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49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50000"/>
                  </a:srgbClr>
                </a:solidFill>
              </a:rPr>
              <a:t>© Capgemini 2021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5" y="-1"/>
            <a:ext cx="4227317" cy="133894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8733482" y="250785"/>
            <a:ext cx="206922" cy="169639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8625827" y="128681"/>
            <a:ext cx="314577" cy="267507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70263" y="1923752"/>
            <a:ext cx="6940153" cy="2943525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810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1" y="0"/>
            <a:ext cx="3561974" cy="51435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3" y="3"/>
            <a:ext cx="3311645" cy="238220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1"/>
            <a:ext cx="2725088" cy="17308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3515" y="2565213"/>
            <a:ext cx="3214946" cy="2244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=""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6029" y="388513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6029" y="702727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=""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6029" y="3485449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6029" y="3799663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=""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6029" y="1922536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36029" y="2236752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=""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5410" y="780366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5410" y="2247169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5410" y="3830884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1117020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59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8625827" y="128681"/>
            <a:ext cx="314577" cy="291741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49"/>
              <a:endParaRPr lang="en-GB" sz="1400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49"/>
              <a:endParaRPr lang="en-GB" sz="1400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76083" y="4987999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749"/>
            <a:fld id="{0502E5A9-B53C-401E-A0E0-4A359BB0A9E5}" type="slidenum">
              <a:rPr lang="en-US" sz="6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 defTabSz="685749"/>
              <a:t>‹Nº›</a:t>
            </a:fld>
            <a:endParaRPr lang="en-US" sz="6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762921" y="4987999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49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© Capgemini 2021. All rights reserved  </a:t>
            </a:r>
            <a:r>
              <a:rPr lang="en-US" sz="500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70513" y="4987999"/>
            <a:ext cx="3537393" cy="92333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70511" y="1361517"/>
            <a:ext cx="8775000" cy="33496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9266280" y="24871"/>
            <a:ext cx="270000" cy="810000"/>
            <a:chOff x="12355040" y="33161"/>
            <a:chExt cx="360000" cy="108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9266280" y="1465859"/>
            <a:ext cx="270000" cy="3656829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1"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1"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4165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marL="0" marR="0" indent="0" algn="l" defTabSz="685749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3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200010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333351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466689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Verdana" panose="020B0604030504040204" pitchFamily="34" charset="0"/>
        <a:buChar char="‒"/>
        <a:defRPr sz="1100" kern="1200">
          <a:solidFill>
            <a:schemeClr val="tx1"/>
          </a:solidFill>
          <a:latin typeface="+mj-lt"/>
          <a:ea typeface="+mn-ea"/>
          <a:cs typeface="+mn-cs"/>
        </a:defRPr>
      </a:lvl4pPr>
      <a:lvl5pPr marL="609555" indent="-142865" algn="l" defTabSz="685749" rtl="0" eaLnBrk="1" latinLnBrk="0" hangingPunct="1">
        <a:lnSpc>
          <a:spcPct val="9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8625827" y="128680"/>
            <a:ext cx="314577" cy="291741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76082" y="4987996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800"/>
            <a:fld id="{0502E5A9-B53C-401E-A0E0-4A359BB0A9E5}" type="slidenum">
              <a:rPr lang="en-US" sz="6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 defTabSz="685800"/>
              <a:t>‹Nº›</a:t>
            </a:fld>
            <a:endParaRPr lang="en-US" sz="6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762918" y="4987996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© Capgemini 2021. All rights reserved  </a:t>
            </a:r>
            <a:r>
              <a:rPr lang="en-US" sz="500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70511" y="4987996"/>
            <a:ext cx="3537393" cy="92333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70511" y="1361514"/>
            <a:ext cx="8775000" cy="33496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9266280" y="24871"/>
            <a:ext cx="270000" cy="810000"/>
            <a:chOff x="12355040" y="33161"/>
            <a:chExt cx="360000" cy="108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9266280" y="1465859"/>
            <a:ext cx="270000" cy="3656829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4"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4"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7382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marL="0" marR="0" indent="0" algn="l" defTabSz="6858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3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20002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33337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46672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Verdana" panose="020B0604030504040204" pitchFamily="34" charset="0"/>
        <a:buChar char="‒"/>
        <a:defRPr sz="1100" kern="1200">
          <a:solidFill>
            <a:schemeClr val="tx1"/>
          </a:solidFill>
          <a:latin typeface="+mj-lt"/>
          <a:ea typeface="+mn-ea"/>
          <a:cs typeface="+mn-cs"/>
        </a:defRPr>
      </a:lvl4pPr>
      <a:lvl5pPr marL="609600" indent="-142875" algn="l" defTabSz="685800" rtl="0" eaLnBrk="1" latinLnBrk="0" hangingPunct="1">
        <a:lnSpc>
          <a:spcPct val="9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242" y="-20538"/>
            <a:ext cx="7982273" cy="5328591"/>
          </a:xfrm>
          <a:prstGeom prst="rect">
            <a:avLst/>
          </a:prstGeom>
        </p:spPr>
      </p:pic>
      <p:sp>
        <p:nvSpPr>
          <p:cNvPr id="2" name="Freeform 5">
            <a:extLst>
              <a:ext uri="{FF2B5EF4-FFF2-40B4-BE49-F238E27FC236}">
                <a16:creationId xmlns="" xmlns:a16="http://schemas.microsoft.com/office/drawing/2014/main" id="{097E2B3C-7165-47CD-8F90-29BD547B5A2B}"/>
              </a:ext>
            </a:extLst>
          </p:cNvPr>
          <p:cNvSpPr>
            <a:spLocks noChangeAspect="1"/>
          </p:cNvSpPr>
          <p:nvPr/>
        </p:nvSpPr>
        <p:spPr bwMode="auto">
          <a:xfrm>
            <a:off x="0" y="-24389"/>
            <a:ext cx="5664652" cy="5866116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5 h 1514"/>
              <a:gd name="T4" fmla="*/ 763 w 1637"/>
              <a:gd name="T5" fmla="*/ 1047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5"/>
                </a:cubicBezTo>
                <a:cubicBezTo>
                  <a:pt x="840" y="663"/>
                  <a:pt x="594" y="755"/>
                  <a:pt x="763" y="1047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4" tIns="34289" rIns="68574" bIns="34289" numCol="1" anchor="t" anchorCtr="0" compatLnSpc="1">
            <a:prstTxWarp prst="textNoShape">
              <a:avLst/>
            </a:prstTxWarp>
          </a:bodyPr>
          <a:lstStyle/>
          <a:p>
            <a:pPr defTabSz="685732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Espace réservé du texte 1">
            <a:extLst>
              <a:ext uri="{FF2B5EF4-FFF2-40B4-BE49-F238E27FC236}">
                <a16:creationId xmlns="" xmlns:a16="http://schemas.microsoft.com/office/drawing/2014/main" id="{3E61A40D-4439-4E82-955B-FC636EF3CC80}"/>
              </a:ext>
            </a:extLst>
          </p:cNvPr>
          <p:cNvSpPr txBox="1">
            <a:spLocks/>
          </p:cNvSpPr>
          <p:nvPr/>
        </p:nvSpPr>
        <p:spPr>
          <a:xfrm>
            <a:off x="179511" y="51470"/>
            <a:ext cx="4680521" cy="792088"/>
          </a:xfrm>
          <a:prstGeom prst="rect">
            <a:avLst/>
          </a:prstGeom>
        </p:spPr>
        <p:txBody>
          <a:bodyPr lIns="68574" tIns="34289" rIns="68574" bIns="34289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n-US" sz="2800" dirty="0" err="1">
                <a:solidFill>
                  <a:srgbClr val="FFFFFF"/>
                </a:solidFill>
              </a:rPr>
              <a:t>Introducción</a:t>
            </a:r>
            <a:r>
              <a:rPr lang="en-US" sz="2800" dirty="0">
                <a:solidFill>
                  <a:srgbClr val="FFFFFF"/>
                </a:solidFill>
              </a:rPr>
              <a:t> a Python </a:t>
            </a:r>
            <a:r>
              <a:rPr lang="en-US" sz="2800" dirty="0" err="1">
                <a:solidFill>
                  <a:srgbClr val="FFFFFF"/>
                </a:solidFill>
              </a:rPr>
              <a:t>orientado</a:t>
            </a:r>
            <a:r>
              <a:rPr lang="en-US" sz="2800" dirty="0">
                <a:solidFill>
                  <a:srgbClr val="FFFFFF"/>
                </a:solidFill>
              </a:rPr>
              <a:t> a ASD</a:t>
            </a:r>
          </a:p>
        </p:txBody>
      </p:sp>
      <p:sp>
        <p:nvSpPr>
          <p:cNvPr id="8" name="Sous-titre 2">
            <a:extLst>
              <a:ext uri="{FF2B5EF4-FFF2-40B4-BE49-F238E27FC236}">
                <a16:creationId xmlns="" xmlns:a16="http://schemas.microsoft.com/office/drawing/2014/main" id="{259864C7-43B5-4E4E-B76F-BA3BD78F03AA}"/>
              </a:ext>
            </a:extLst>
          </p:cNvPr>
          <p:cNvSpPr txBox="1">
            <a:spLocks/>
          </p:cNvSpPr>
          <p:nvPr/>
        </p:nvSpPr>
        <p:spPr>
          <a:xfrm>
            <a:off x="107504" y="4443958"/>
            <a:ext cx="1944216" cy="4260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s-ES" sz="1100" dirty="0">
                <a:solidFill>
                  <a:srgbClr val="FFFFFF"/>
                </a:solidFill>
              </a:rPr>
              <a:t>Evaristo Cuesta Guzmán </a:t>
            </a:r>
            <a:endParaRPr lang="es-ES" sz="1100" dirty="0" smtClean="0">
              <a:solidFill>
                <a:srgbClr val="FFFFFF"/>
              </a:solidFill>
            </a:endParaRPr>
          </a:p>
          <a:p>
            <a:pPr defTabSz="685732">
              <a:defRPr/>
            </a:pPr>
            <a:r>
              <a:rPr lang="es-ES" sz="1100" dirty="0" smtClean="0">
                <a:solidFill>
                  <a:srgbClr val="FFFFFF"/>
                </a:solidFill>
              </a:rPr>
              <a:t>20/05/2021</a:t>
            </a:r>
            <a:endParaRPr lang="es-ES" sz="1100" dirty="0">
              <a:solidFill>
                <a:srgbClr val="FFFFFF"/>
              </a:solidFill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3491880" y="2411021"/>
            <a:ext cx="5652120" cy="273248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8000"/>
                </a:schemeClr>
              </a:gs>
              <a:gs pos="28000">
                <a:srgbClr val="000000">
                  <a:alpha val="38000"/>
                </a:srgbClr>
              </a:gs>
              <a:gs pos="49000">
                <a:schemeClr val="tx1"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9" rIns="68574" bIns="34289" rtlCol="0" anchor="ctr"/>
          <a:lstStyle/>
          <a:p>
            <a:pPr algn="ctr" defTabSz="685732"/>
            <a:endParaRPr lang="es-ES" sz="1400">
              <a:solidFill>
                <a:srgbClr val="FFFFFF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100" y="4064570"/>
            <a:ext cx="3586813" cy="883447"/>
          </a:xfrm>
          <a:prstGeom prst="rect">
            <a:avLst/>
          </a:prstGeom>
        </p:spPr>
      </p:pic>
      <p:pic>
        <p:nvPicPr>
          <p:cNvPr id="4" name="3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3" y="195487"/>
            <a:ext cx="1563638" cy="1563638"/>
          </a:xfrm>
          <a:prstGeom prst="rect">
            <a:avLst/>
          </a:prstGeom>
        </p:spPr>
      </p:pic>
      <p:sp>
        <p:nvSpPr>
          <p:cNvPr id="13" name="Espace réservé du texte 1">
            <a:extLst>
              <a:ext uri="{FF2B5EF4-FFF2-40B4-BE49-F238E27FC236}">
                <a16:creationId xmlns="" xmlns:a16="http://schemas.microsoft.com/office/drawing/2014/main" id="{3E61A40D-4439-4E82-955B-FC636EF3CC80}"/>
              </a:ext>
            </a:extLst>
          </p:cNvPr>
          <p:cNvSpPr txBox="1">
            <a:spLocks/>
          </p:cNvSpPr>
          <p:nvPr/>
        </p:nvSpPr>
        <p:spPr>
          <a:xfrm>
            <a:off x="179512" y="915565"/>
            <a:ext cx="4450417" cy="843559"/>
          </a:xfrm>
          <a:prstGeom prst="rect">
            <a:avLst/>
          </a:prstGeom>
        </p:spPr>
        <p:txBody>
          <a:bodyPr lIns="68574" tIns="34289" rIns="68574" bIns="34289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02. </a:t>
            </a:r>
            <a:r>
              <a:rPr lang="en-US" sz="1400" dirty="0" err="1" smtClean="0">
                <a:solidFill>
                  <a:srgbClr val="FFFFFF"/>
                </a:solidFill>
              </a:rPr>
              <a:t>Sintáxis</a:t>
            </a:r>
            <a:endParaRPr lang="en-US" sz="1400" dirty="0" smtClean="0">
              <a:solidFill>
                <a:srgbClr val="FFFFFF"/>
              </a:solidFill>
            </a:endParaRPr>
          </a:p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      </a:t>
            </a:r>
            <a:r>
              <a:rPr lang="en-US" sz="1400" dirty="0" err="1" smtClean="0">
                <a:solidFill>
                  <a:srgbClr val="FFFFFF"/>
                </a:solidFill>
              </a:rPr>
              <a:t>Tipo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básicos</a:t>
            </a:r>
            <a:r>
              <a:rPr lang="en-US" sz="1400" dirty="0" smtClean="0">
                <a:solidFill>
                  <a:srgbClr val="FFFFFF"/>
                </a:solidFill>
              </a:rPr>
              <a:t> de </a:t>
            </a:r>
            <a:r>
              <a:rPr lang="en-US" sz="1400" dirty="0" err="1" smtClean="0">
                <a:solidFill>
                  <a:srgbClr val="FFFFFF"/>
                </a:solidFill>
              </a:rPr>
              <a:t>datos</a:t>
            </a:r>
            <a:r>
              <a:rPr lang="en-US" sz="1400" dirty="0" smtClean="0">
                <a:solidFill>
                  <a:srgbClr val="FFFFFF"/>
                </a:solidFill>
              </a:rPr>
              <a:t> y </a:t>
            </a:r>
            <a:r>
              <a:rPr lang="en-US" sz="1400" dirty="0" err="1" smtClean="0">
                <a:solidFill>
                  <a:srgbClr val="FFFFFF"/>
                </a:solidFill>
              </a:rPr>
              <a:t>operadore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</a:p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      </a:t>
            </a:r>
            <a:r>
              <a:rPr lang="en-US" sz="1400" dirty="0" err="1" smtClean="0">
                <a:solidFill>
                  <a:srgbClr val="FFFFFF"/>
                </a:solidFill>
              </a:rPr>
              <a:t>Funciones</a:t>
            </a: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002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err="1" smtClean="0"/>
              <a:t>Sintáxi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Identificadores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Palabras reservada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Sentencias, líneas </a:t>
            </a:r>
            <a:r>
              <a:rPr lang="es-ES" dirty="0"/>
              <a:t>e </a:t>
            </a:r>
            <a:r>
              <a:rPr lang="es-ES" dirty="0" err="1"/>
              <a:t>indentación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Sentencias </a:t>
            </a:r>
            <a:r>
              <a:rPr lang="es-ES" dirty="0" err="1" smtClean="0"/>
              <a:t>multilínea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Comentario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Entrada y </a:t>
            </a:r>
            <a:r>
              <a:rPr lang="es-ES" dirty="0" smtClean="0"/>
              <a:t>salida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PEP 8. Guía de estilo</a:t>
            </a: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3157982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Tipos básicos de datos y operadore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Asignar valores a variable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Variables </a:t>
            </a:r>
            <a:r>
              <a:rPr lang="es-ES" dirty="0"/>
              <a:t>y operaciones numérica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Variables y operaciones con </a:t>
            </a:r>
            <a:r>
              <a:rPr lang="es-ES" dirty="0" smtClean="0"/>
              <a:t>cadena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Variables y operaciones </a:t>
            </a:r>
            <a:r>
              <a:rPr lang="es-ES" dirty="0" smtClean="0"/>
              <a:t>lógica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Castings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2025366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Funcione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¿</a:t>
            </a:r>
            <a:r>
              <a:rPr lang="es-ES" dirty="0"/>
              <a:t>Qué son las funciones?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Reutilización del código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Definir funcion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4177029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ción1" id="{052EE8AA-76EF-4748-835F-A6D187923361}" vid="{370F8B8F-388E-40AB-AD36-3D6D6E70E5A2}"/>
    </a:ext>
  </a:extLst>
</a:theme>
</file>

<file path=ppt/theme/theme2.xml><?xml version="1.0" encoding="utf-8"?>
<a:theme xmlns:a="http://schemas.openxmlformats.org/drawingml/2006/main" name="2_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ción1" id="{052EE8AA-76EF-4748-835F-A6D187923361}" vid="{370F8B8F-388E-40AB-AD36-3D6D6E70E5A2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5</TotalTime>
  <Words>97</Words>
  <Application>Microsoft Office PowerPoint</Application>
  <PresentationFormat>Presentación en pantalla (16:9)</PresentationFormat>
  <Paragraphs>27</Paragraphs>
  <Slides>4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7" baseType="lpstr">
      <vt:lpstr>1_Capgemini Master</vt:lpstr>
      <vt:lpstr>2_Capgemini Master</vt:lpstr>
      <vt:lpstr>think-cell Slide</vt:lpstr>
      <vt:lpstr>Presentación de PowerPoint</vt:lpstr>
      <vt:lpstr>Sintáxis</vt:lpstr>
      <vt:lpstr>Tipos básicos de datos y operadores</vt:lpstr>
      <vt:lpstr>Funcion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varisto Cuesta Guzmán</dc:creator>
  <cp:lastModifiedBy>Evaristo Cuesta Guzmán</cp:lastModifiedBy>
  <cp:revision>47</cp:revision>
  <dcterms:created xsi:type="dcterms:W3CDTF">2021-05-09T09:28:54Z</dcterms:created>
  <dcterms:modified xsi:type="dcterms:W3CDTF">2021-05-16T10:11:38Z</dcterms:modified>
</cp:coreProperties>
</file>